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14"/>
  </p:notesMasterIdLst>
  <p:sldIdLst>
    <p:sldId id="300" r:id="rId3"/>
    <p:sldId id="289" r:id="rId4"/>
    <p:sldId id="299" r:id="rId5"/>
    <p:sldId id="290" r:id="rId6"/>
    <p:sldId id="291" r:id="rId7"/>
    <p:sldId id="292" r:id="rId8"/>
    <p:sldId id="293" r:id="rId9"/>
    <p:sldId id="296" r:id="rId10"/>
    <p:sldId id="297" r:id="rId11"/>
    <p:sldId id="298" r:id="rId12"/>
    <p:sldId id="294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-474" y="-108"/>
      </p:cViewPr>
      <p:guideLst>
        <p:guide orient="horz" pos="2160"/>
        <p:guide pos="73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4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98338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77112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7083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8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9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0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2990" y="186326"/>
            <a:ext cx="1521578" cy="764495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12448" y="5567869"/>
            <a:ext cx="8236916" cy="101856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ealer Name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经销商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名称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宾利</a:t>
            </a:r>
            <a:endParaRPr lang="en-US" altLang="zh-CN" sz="1507" dirty="0" smtClean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Event Nam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名称： （展厅活动，试驾活动，售后活动，交车仪式，易手车活动，新车发布等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）</a:t>
            </a:r>
            <a:endParaRPr lang="en-US" sz="1507" dirty="0" smtClean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tart 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ate/End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-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ubmission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提交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-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079" b="14440"/>
          <a:stretch/>
        </p:blipFill>
        <p:spPr>
          <a:xfrm>
            <a:off x="290832" y="1205419"/>
            <a:ext cx="11654119" cy="410785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133347" y="5313270"/>
            <a:ext cx="33954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封面图片可以自行更换车辆美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550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Hospitalit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礼仪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如有其他项目申请特殊定制，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相关素材及照片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礼仪照片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Hospitalit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礼仪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Others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其他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32470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Rundown / Agenda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活动流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6459136"/>
              </p:ext>
            </p:extLst>
          </p:nvPr>
        </p:nvGraphicFramePr>
        <p:xfrm>
          <a:off x="587141" y="1234463"/>
          <a:ext cx="11032602" cy="45169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7807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07726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077266">
                  <a:extLst>
                    <a:ext uri="{9D8B030D-6E8A-4147-A177-3AD203B41FA5}">
                      <a16:colId xmlns="" xmlns:a16="http://schemas.microsoft.com/office/drawing/2014/main" val="610373499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im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时间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ntent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esponsibl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负责人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9660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325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98737322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639051246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177553746"/>
                  </a:ext>
                </a:extLst>
              </a:tr>
              <a:tr h="43482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230401121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5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0222015"/>
              </p:ext>
            </p:extLst>
          </p:nvPr>
        </p:nvGraphicFramePr>
        <p:xfrm>
          <a:off x="539749" y="1107029"/>
          <a:ext cx="11079991" cy="34427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4933">
                  <a:extLst>
                    <a:ext uri="{9D8B030D-6E8A-4147-A177-3AD203B41FA5}">
                      <a16:colId xmlns="" xmlns:a16="http://schemas.microsoft.com/office/drawing/2014/main" val="1357581311"/>
                    </a:ext>
                  </a:extLst>
                </a:gridCol>
                <a:gridCol w="2706957">
                  <a:extLst>
                    <a:ext uri="{9D8B030D-6E8A-4147-A177-3AD203B41FA5}">
                      <a16:colId xmlns="" xmlns:a16="http://schemas.microsoft.com/office/drawing/2014/main" val="1956442140"/>
                    </a:ext>
                  </a:extLst>
                </a:gridCol>
                <a:gridCol w="1378384">
                  <a:extLst>
                    <a:ext uri="{9D8B030D-6E8A-4147-A177-3AD203B41FA5}">
                      <a16:colId xmlns="" xmlns:a16="http://schemas.microsoft.com/office/drawing/2014/main" val="3122743454"/>
                    </a:ext>
                  </a:extLst>
                </a:gridCol>
                <a:gridCol w="1030714">
                  <a:extLst>
                    <a:ext uri="{9D8B030D-6E8A-4147-A177-3AD203B41FA5}">
                      <a16:colId xmlns="" xmlns:a16="http://schemas.microsoft.com/office/drawing/2014/main" val="755301095"/>
                    </a:ext>
                  </a:extLst>
                </a:gridCol>
                <a:gridCol w="2464037">
                  <a:extLst>
                    <a:ext uri="{9D8B030D-6E8A-4147-A177-3AD203B41FA5}">
                      <a16:colId xmlns="" xmlns:a16="http://schemas.microsoft.com/office/drawing/2014/main" val="2056552446"/>
                    </a:ext>
                  </a:extLst>
                </a:gridCol>
                <a:gridCol w="1574966">
                  <a:extLst>
                    <a:ext uri="{9D8B030D-6E8A-4147-A177-3AD203B41FA5}">
                      <a16:colId xmlns="" xmlns:a16="http://schemas.microsoft.com/office/drawing/2014/main" val="1567976445"/>
                    </a:ext>
                  </a:extLst>
                </a:gridCol>
              </a:tblGrid>
              <a:tr h="313200">
                <a:tc gridSpan="6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总览 </a:t>
                      </a:r>
                      <a:r>
                        <a:rPr lang="en-US" altLang="zh-CN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Over</a:t>
                      </a:r>
                      <a:r>
                        <a:rPr lang="en-US" altLang="zh-CN" sz="1200" baseline="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view</a:t>
                      </a:r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203583067"/>
                  </a:ext>
                </a:extLst>
              </a:tr>
              <a:tr h="524437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 &amp; Intent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名称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851841494"/>
                  </a:ext>
                </a:extLst>
              </a:tr>
              <a:tr h="48697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36000" marR="0" marT="54261" marB="54261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37797630"/>
                  </a:ext>
                </a:extLst>
              </a:tr>
              <a:tr h="486978"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opl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参与人数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ehicl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车辆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Usage  (Static/Test drive)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用途（静态展示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试驾）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649553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客户数量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odel</a:t>
                      </a:r>
                    </a:p>
                    <a:p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型号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004258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st per n</a:t>
                      </a: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w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*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069117920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of new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leads created in 2022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</a:p>
                    <a:p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数量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48740028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54312"/>
            <a:ext cx="11051852" cy="364291"/>
          </a:xfrm>
        </p:spPr>
        <p:txBody>
          <a:bodyPr vert="horz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7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98575428"/>
              </p:ext>
            </p:extLst>
          </p:nvPr>
        </p:nvGraphicFramePr>
        <p:xfrm>
          <a:off x="587372" y="4732273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="" xmlns:a16="http://schemas.microsoft.com/office/drawing/2014/main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="" xmlns:a16="http://schemas.microsoft.com/office/drawing/2014/main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Invitation Total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邀请计划总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242880312"/>
                  </a:ext>
                </a:extLst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3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graphicFrame>
        <p:nvGraphicFramePr>
          <p:cNvPr id="9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1389655"/>
              </p:ext>
            </p:extLst>
          </p:nvPr>
        </p:nvGraphicFramePr>
        <p:xfrm>
          <a:off x="404261" y="1162112"/>
          <a:ext cx="11473313" cy="506521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54780">
                  <a:extLst>
                    <a:ext uri="{9D8B030D-6E8A-4147-A177-3AD203B41FA5}">
                      <a16:colId xmlns="" xmlns:a16="http://schemas.microsoft.com/office/drawing/2014/main" val="2715221625"/>
                    </a:ext>
                  </a:extLst>
                </a:gridCol>
                <a:gridCol w="854780">
                  <a:extLst>
                    <a:ext uri="{9D8B030D-6E8A-4147-A177-3AD203B41FA5}">
                      <a16:colId xmlns="" xmlns:a16="http://schemas.microsoft.com/office/drawing/2014/main" val="1722467380"/>
                    </a:ext>
                  </a:extLst>
                </a:gridCol>
                <a:gridCol w="1158769">
                  <a:extLst>
                    <a:ext uri="{9D8B030D-6E8A-4147-A177-3AD203B41FA5}">
                      <a16:colId xmlns="" xmlns:a16="http://schemas.microsoft.com/office/drawing/2014/main" val="8733085"/>
                    </a:ext>
                  </a:extLst>
                </a:gridCol>
                <a:gridCol w="899883">
                  <a:extLst>
                    <a:ext uri="{9D8B030D-6E8A-4147-A177-3AD203B41FA5}">
                      <a16:colId xmlns="" xmlns:a16="http://schemas.microsoft.com/office/drawing/2014/main" val="2034639721"/>
                    </a:ext>
                  </a:extLst>
                </a:gridCol>
                <a:gridCol w="1968445">
                  <a:extLst>
                    <a:ext uri="{9D8B030D-6E8A-4147-A177-3AD203B41FA5}">
                      <a16:colId xmlns="" xmlns:a16="http://schemas.microsoft.com/office/drawing/2014/main" val="984284813"/>
                    </a:ext>
                  </a:extLst>
                </a:gridCol>
                <a:gridCol w="1634194">
                  <a:extLst>
                    <a:ext uri="{9D8B030D-6E8A-4147-A177-3AD203B41FA5}">
                      <a16:colId xmlns="" xmlns:a16="http://schemas.microsoft.com/office/drawing/2014/main" val="610353967"/>
                    </a:ext>
                  </a:extLst>
                </a:gridCol>
                <a:gridCol w="1234134">
                  <a:extLst>
                    <a:ext uri="{9D8B030D-6E8A-4147-A177-3AD203B41FA5}">
                      <a16:colId xmlns="" xmlns:a16="http://schemas.microsoft.com/office/drawing/2014/main" val="2199988680"/>
                    </a:ext>
                  </a:extLst>
                </a:gridCol>
                <a:gridCol w="942636">
                  <a:extLst>
                    <a:ext uri="{9D8B030D-6E8A-4147-A177-3AD203B41FA5}">
                      <a16:colId xmlns="" xmlns:a16="http://schemas.microsoft.com/office/drawing/2014/main" val="1060807198"/>
                    </a:ext>
                  </a:extLst>
                </a:gridCol>
                <a:gridCol w="1925692">
                  <a:extLst>
                    <a:ext uri="{9D8B030D-6E8A-4147-A177-3AD203B41FA5}">
                      <a16:colId xmlns="" xmlns:a16="http://schemas.microsoft.com/office/drawing/2014/main" val="3687281855"/>
                    </a:ext>
                  </a:extLst>
                </a:gridCol>
              </a:tblGrid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 Overview </a:t>
                      </a:r>
                      <a:r>
                        <a:rPr lang="zh-CN" altLang="en-US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3226044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Budget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45492585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815440894"/>
                  </a:ext>
                </a:extLst>
              </a:tr>
              <a:tr h="252000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zh-CN" alt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44899817"/>
                  </a:ext>
                </a:extLst>
              </a:tr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</a:t>
                      </a:r>
                      <a:r>
                        <a:rPr lang="en-US" altLang="zh-CN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Detail </a:t>
                      </a:r>
                      <a:r>
                        <a:rPr lang="zh-CN" altLang="en-US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详情</a:t>
                      </a:r>
                      <a:endParaRPr lang="en-US" altLang="zh-CN" sz="1200" b="1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268840849"/>
                  </a:ext>
                </a:extLst>
              </a:tr>
              <a:tr h="398648">
                <a:tc gridSpan="2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8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lang="en-US" altLang="zh-CN" sz="8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kumimoji="0" lang="en-US" altLang="zh-CN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kumimoji="0" lang="en-US" altLang="zh-CN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41501689"/>
                  </a:ext>
                </a:extLst>
              </a:tr>
              <a:tr h="643969">
                <a:tc gridSpan="2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enue Rental 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场地租赁</a:t>
                      </a:r>
                    </a:p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zh-CN" altLang="en-US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hotograph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75075753"/>
                  </a:ext>
                </a:extLst>
              </a:tr>
              <a:tr h="944643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etup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搭建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rformance 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表演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18738132"/>
                  </a:ext>
                </a:extLst>
              </a:tr>
              <a:tr h="398648">
                <a:tc row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atering    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费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C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主持人</a:t>
                      </a:r>
                    </a:p>
                  </a:txBody>
                  <a:tcPr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92001067"/>
                  </a:ext>
                </a:extLst>
              </a:tr>
              <a:tr h="39864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酒水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564902271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altLang="zh-CN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Hospitality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礼仪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人数</a:t>
                      </a: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均价格</a:t>
                      </a: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81176443"/>
                  </a:ext>
                </a:extLst>
              </a:tr>
            </a:tbl>
          </a:graphicData>
        </a:graphic>
      </p:graphicFrame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87234"/>
            <a:ext cx="11048532" cy="474878"/>
          </a:xfrm>
        </p:spPr>
        <p:txBody>
          <a:bodyPr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7"/>
            <a:ext cx="11080728" cy="4947269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430694" y="1838424"/>
            <a:ext cx="4888615" cy="4119614"/>
          </a:xfrm>
          <a:prstGeom prst="rect">
            <a:avLst/>
          </a:prstGeom>
          <a:noFill/>
          <a:ln>
            <a:solidFill>
              <a:srgbClr val="00321F"/>
            </a:solidFill>
            <a:prstDash val="lgDash"/>
          </a:ln>
        </p:spPr>
        <p:txBody>
          <a:bodyPr wrap="square" lIns="85451" rIns="85451" rtlCol="0" anchor="t">
            <a:noAutofit/>
          </a:bodyPr>
          <a:lstStyle/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场地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基础信息：地点 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 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容量 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 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选择</a:t>
            </a: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理由</a:t>
            </a: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合作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方信息（若有）：合作方背景 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 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合作模式</a:t>
            </a:r>
            <a:endParaRPr lang="zh-CN" altLang="en-US" sz="1187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Venue basic information: area / capacity / why selection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选择理由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8"/>
            <a:ext cx="11080728" cy="4728184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151512" y="1123920"/>
            <a:ext cx="548413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Site plan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使用计划 （平面图等）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360671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6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558263" y="1661020"/>
            <a:ext cx="11061479" cy="50376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187" dirty="0"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rand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R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presentation – KV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活动主视觉或背板设计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6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177026" y="6322995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  <p:sp>
        <p:nvSpPr>
          <p:cNvPr id="9" name="Rectangle 8"/>
          <p:cNvSpPr/>
          <p:nvPr/>
        </p:nvSpPr>
        <p:spPr>
          <a:xfrm>
            <a:off x="558264" y="1126740"/>
            <a:ext cx="11081395" cy="52322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Brand Representation 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活动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主视觉或背板</a:t>
            </a: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Setup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布置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效果图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方案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erformance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表演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效果图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方案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erformance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计划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erformance concept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方案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26958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hotograph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摄影摄像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作品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可以是多幅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介绍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</TotalTime>
  <Words>523</Words>
  <Application>Microsoft Office PowerPoint</Application>
  <PresentationFormat>自定义</PresentationFormat>
  <Paragraphs>154</Paragraphs>
  <Slides>11</Slides>
  <Notes>7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14" baseType="lpstr">
      <vt:lpstr>3_Office Theme</vt:lpstr>
      <vt:lpstr>4_Office Theme</vt:lpstr>
      <vt:lpstr>think-cell Slide</vt:lpstr>
      <vt:lpstr>PowerPoint 演示文稿</vt:lpstr>
      <vt:lpstr>Overview 概述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Think</cp:lastModifiedBy>
  <cp:revision>50</cp:revision>
  <dcterms:created xsi:type="dcterms:W3CDTF">2022-02-15T07:41:51Z</dcterms:created>
  <dcterms:modified xsi:type="dcterms:W3CDTF">2022-04-04T08:28:20Z</dcterms:modified>
</cp:coreProperties>
</file>